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</p:sldIdLst>
  <p:sldSz cx="14400213" cy="14400213"/>
  <p:notesSz cx="6858000" cy="9144000"/>
  <p:custDataLst>
    <p:tags r:id="rId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536" userDrawn="1">
          <p15:clr>
            <a:srgbClr val="A4A3A4"/>
          </p15:clr>
        </p15:guide>
        <p15:guide id="2" pos="453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ABA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>
        <p:scale>
          <a:sx n="66" d="100"/>
          <a:sy n="66" d="100"/>
        </p:scale>
        <p:origin x="1740" y="-642"/>
      </p:cViewPr>
      <p:guideLst>
        <p:guide orient="horz" pos="4536"/>
        <p:guide pos="453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80016" y="2356703"/>
            <a:ext cx="12240181" cy="5013407"/>
          </a:xfrm>
        </p:spPr>
        <p:txBody>
          <a:bodyPr anchor="b"/>
          <a:lstStyle>
            <a:lvl1pPr algn="ctr">
              <a:defRPr sz="944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00027" y="7563446"/>
            <a:ext cx="10800160" cy="3476717"/>
          </a:xfrm>
        </p:spPr>
        <p:txBody>
          <a:bodyPr/>
          <a:lstStyle>
            <a:lvl1pPr marL="0" indent="0" algn="ctr">
              <a:buNone/>
              <a:defRPr sz="3780"/>
            </a:lvl1pPr>
            <a:lvl2pPr marL="719999" indent="0" algn="ctr">
              <a:buNone/>
              <a:defRPr sz="3150"/>
            </a:lvl2pPr>
            <a:lvl3pPr marL="1439997" indent="0" algn="ctr">
              <a:buNone/>
              <a:defRPr sz="2835"/>
            </a:lvl3pPr>
            <a:lvl4pPr marL="2159996" indent="0" algn="ctr">
              <a:buNone/>
              <a:defRPr sz="2520"/>
            </a:lvl4pPr>
            <a:lvl5pPr marL="2879994" indent="0" algn="ctr">
              <a:buNone/>
              <a:defRPr sz="2520"/>
            </a:lvl5pPr>
            <a:lvl6pPr marL="3599993" indent="0" algn="ctr">
              <a:buNone/>
              <a:defRPr sz="2520"/>
            </a:lvl6pPr>
            <a:lvl7pPr marL="4319991" indent="0" algn="ctr">
              <a:buNone/>
              <a:defRPr sz="2520"/>
            </a:lvl7pPr>
            <a:lvl8pPr marL="5039990" indent="0" algn="ctr">
              <a:buNone/>
              <a:defRPr sz="2520"/>
            </a:lvl8pPr>
            <a:lvl9pPr marL="5759988" indent="0" algn="ctr">
              <a:buNone/>
              <a:defRPr sz="252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EF574-4BF7-442F-A638-31BEEE305A02}" type="datetimeFigureOut">
              <a:rPr lang="en-US" smtClean="0"/>
              <a:t>5/3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F8D2A-260E-42DE-A758-ADBA8D62218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24311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EF574-4BF7-442F-A638-31BEEE305A02}" type="datetimeFigureOut">
              <a:rPr lang="en-US" smtClean="0"/>
              <a:t>5/3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F8D2A-260E-42DE-A758-ADBA8D62218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97405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305153" y="766678"/>
            <a:ext cx="3105046" cy="12203515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015" y="766678"/>
            <a:ext cx="9135135" cy="12203515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EF574-4BF7-442F-A638-31BEEE305A02}" type="datetimeFigureOut">
              <a:rPr lang="en-US" smtClean="0"/>
              <a:t>5/3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F8D2A-260E-42DE-A758-ADBA8D62218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26629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EF574-4BF7-442F-A638-31BEEE305A02}" type="datetimeFigureOut">
              <a:rPr lang="en-US" smtClean="0"/>
              <a:t>5/3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F8D2A-260E-42DE-A758-ADBA8D62218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35265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2515" y="3590057"/>
            <a:ext cx="12420184" cy="5990088"/>
          </a:xfrm>
        </p:spPr>
        <p:txBody>
          <a:bodyPr anchor="b"/>
          <a:lstStyle>
            <a:lvl1pPr>
              <a:defRPr sz="944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2515" y="9636813"/>
            <a:ext cx="12420184" cy="3150046"/>
          </a:xfrm>
        </p:spPr>
        <p:txBody>
          <a:bodyPr/>
          <a:lstStyle>
            <a:lvl1pPr marL="0" indent="0">
              <a:buNone/>
              <a:defRPr sz="3780">
                <a:solidFill>
                  <a:schemeClr val="tx1"/>
                </a:solidFill>
              </a:defRPr>
            </a:lvl1pPr>
            <a:lvl2pPr marL="719999" indent="0">
              <a:buNone/>
              <a:defRPr sz="3150">
                <a:solidFill>
                  <a:schemeClr val="tx1">
                    <a:tint val="75000"/>
                  </a:schemeClr>
                </a:solidFill>
              </a:defRPr>
            </a:lvl2pPr>
            <a:lvl3pPr marL="1439997" indent="0">
              <a:buNone/>
              <a:defRPr sz="2835">
                <a:solidFill>
                  <a:schemeClr val="tx1">
                    <a:tint val="75000"/>
                  </a:schemeClr>
                </a:solidFill>
              </a:defRPr>
            </a:lvl3pPr>
            <a:lvl4pPr marL="2159996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4pPr>
            <a:lvl5pPr marL="2879994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5pPr>
            <a:lvl6pPr marL="3599993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6pPr>
            <a:lvl7pPr marL="4319991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7pPr>
            <a:lvl8pPr marL="5039990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8pPr>
            <a:lvl9pPr marL="5759988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EF574-4BF7-442F-A638-31BEEE305A02}" type="datetimeFigureOut">
              <a:rPr lang="en-US" smtClean="0"/>
              <a:t>5/3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F8D2A-260E-42DE-A758-ADBA8D62218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69392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90014" y="3833390"/>
            <a:ext cx="6120091" cy="913680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290108" y="3833390"/>
            <a:ext cx="6120091" cy="913680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EF574-4BF7-442F-A638-31BEEE305A02}" type="datetimeFigureOut">
              <a:rPr lang="en-US" smtClean="0"/>
              <a:t>5/30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F8D2A-260E-42DE-A758-ADBA8D62218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76015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1890" y="766681"/>
            <a:ext cx="12420184" cy="2783376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91892" y="3530053"/>
            <a:ext cx="6091964" cy="1730025"/>
          </a:xfrm>
        </p:spPr>
        <p:txBody>
          <a:bodyPr anchor="b"/>
          <a:lstStyle>
            <a:lvl1pPr marL="0" indent="0">
              <a:buNone/>
              <a:defRPr sz="3780" b="1"/>
            </a:lvl1pPr>
            <a:lvl2pPr marL="719999" indent="0">
              <a:buNone/>
              <a:defRPr sz="3150" b="1"/>
            </a:lvl2pPr>
            <a:lvl3pPr marL="1439997" indent="0">
              <a:buNone/>
              <a:defRPr sz="2835" b="1"/>
            </a:lvl3pPr>
            <a:lvl4pPr marL="2159996" indent="0">
              <a:buNone/>
              <a:defRPr sz="2520" b="1"/>
            </a:lvl4pPr>
            <a:lvl5pPr marL="2879994" indent="0">
              <a:buNone/>
              <a:defRPr sz="2520" b="1"/>
            </a:lvl5pPr>
            <a:lvl6pPr marL="3599993" indent="0">
              <a:buNone/>
              <a:defRPr sz="2520" b="1"/>
            </a:lvl6pPr>
            <a:lvl7pPr marL="4319991" indent="0">
              <a:buNone/>
              <a:defRPr sz="2520" b="1"/>
            </a:lvl7pPr>
            <a:lvl8pPr marL="5039990" indent="0">
              <a:buNone/>
              <a:defRPr sz="2520" b="1"/>
            </a:lvl8pPr>
            <a:lvl9pPr marL="5759988" indent="0">
              <a:buNone/>
              <a:defRPr sz="252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91892" y="5260078"/>
            <a:ext cx="6091964" cy="773678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290109" y="3530053"/>
            <a:ext cx="6121966" cy="1730025"/>
          </a:xfrm>
        </p:spPr>
        <p:txBody>
          <a:bodyPr anchor="b"/>
          <a:lstStyle>
            <a:lvl1pPr marL="0" indent="0">
              <a:buNone/>
              <a:defRPr sz="3780" b="1"/>
            </a:lvl1pPr>
            <a:lvl2pPr marL="719999" indent="0">
              <a:buNone/>
              <a:defRPr sz="3150" b="1"/>
            </a:lvl2pPr>
            <a:lvl3pPr marL="1439997" indent="0">
              <a:buNone/>
              <a:defRPr sz="2835" b="1"/>
            </a:lvl3pPr>
            <a:lvl4pPr marL="2159996" indent="0">
              <a:buNone/>
              <a:defRPr sz="2520" b="1"/>
            </a:lvl4pPr>
            <a:lvl5pPr marL="2879994" indent="0">
              <a:buNone/>
              <a:defRPr sz="2520" b="1"/>
            </a:lvl5pPr>
            <a:lvl6pPr marL="3599993" indent="0">
              <a:buNone/>
              <a:defRPr sz="2520" b="1"/>
            </a:lvl6pPr>
            <a:lvl7pPr marL="4319991" indent="0">
              <a:buNone/>
              <a:defRPr sz="2520" b="1"/>
            </a:lvl7pPr>
            <a:lvl8pPr marL="5039990" indent="0">
              <a:buNone/>
              <a:defRPr sz="2520" b="1"/>
            </a:lvl8pPr>
            <a:lvl9pPr marL="5759988" indent="0">
              <a:buNone/>
              <a:defRPr sz="252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290109" y="5260078"/>
            <a:ext cx="6121966" cy="773678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EF574-4BF7-442F-A638-31BEEE305A02}" type="datetimeFigureOut">
              <a:rPr lang="en-US" smtClean="0"/>
              <a:t>5/30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F8D2A-260E-42DE-A758-ADBA8D62218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49424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EF574-4BF7-442F-A638-31BEEE305A02}" type="datetimeFigureOut">
              <a:rPr lang="en-US" smtClean="0"/>
              <a:t>5/30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F8D2A-260E-42DE-A758-ADBA8D62218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05840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EF574-4BF7-442F-A638-31BEEE305A02}" type="datetimeFigureOut">
              <a:rPr lang="en-US" smtClean="0"/>
              <a:t>5/30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F8D2A-260E-42DE-A758-ADBA8D62218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11367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1890" y="960014"/>
            <a:ext cx="4644444" cy="3360050"/>
          </a:xfrm>
        </p:spPr>
        <p:txBody>
          <a:bodyPr anchor="b"/>
          <a:lstStyle>
            <a:lvl1pPr>
              <a:defRPr sz="503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21966" y="2073367"/>
            <a:ext cx="7290108" cy="10233485"/>
          </a:xfrm>
        </p:spPr>
        <p:txBody>
          <a:bodyPr/>
          <a:lstStyle>
            <a:lvl1pPr>
              <a:defRPr sz="5039"/>
            </a:lvl1pPr>
            <a:lvl2pPr>
              <a:defRPr sz="4409"/>
            </a:lvl2pPr>
            <a:lvl3pPr>
              <a:defRPr sz="3780"/>
            </a:lvl3pPr>
            <a:lvl4pPr>
              <a:defRPr sz="3150"/>
            </a:lvl4pPr>
            <a:lvl5pPr>
              <a:defRPr sz="3150"/>
            </a:lvl5pPr>
            <a:lvl6pPr>
              <a:defRPr sz="3150"/>
            </a:lvl6pPr>
            <a:lvl7pPr>
              <a:defRPr sz="3150"/>
            </a:lvl7pPr>
            <a:lvl8pPr>
              <a:defRPr sz="3150"/>
            </a:lvl8pPr>
            <a:lvl9pPr>
              <a:defRPr sz="315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91890" y="4320064"/>
            <a:ext cx="4644444" cy="8003453"/>
          </a:xfrm>
        </p:spPr>
        <p:txBody>
          <a:bodyPr/>
          <a:lstStyle>
            <a:lvl1pPr marL="0" indent="0">
              <a:buNone/>
              <a:defRPr sz="2520"/>
            </a:lvl1pPr>
            <a:lvl2pPr marL="719999" indent="0">
              <a:buNone/>
              <a:defRPr sz="2205"/>
            </a:lvl2pPr>
            <a:lvl3pPr marL="1439997" indent="0">
              <a:buNone/>
              <a:defRPr sz="1890"/>
            </a:lvl3pPr>
            <a:lvl4pPr marL="2159996" indent="0">
              <a:buNone/>
              <a:defRPr sz="1575"/>
            </a:lvl4pPr>
            <a:lvl5pPr marL="2879994" indent="0">
              <a:buNone/>
              <a:defRPr sz="1575"/>
            </a:lvl5pPr>
            <a:lvl6pPr marL="3599993" indent="0">
              <a:buNone/>
              <a:defRPr sz="1575"/>
            </a:lvl6pPr>
            <a:lvl7pPr marL="4319991" indent="0">
              <a:buNone/>
              <a:defRPr sz="1575"/>
            </a:lvl7pPr>
            <a:lvl8pPr marL="5039990" indent="0">
              <a:buNone/>
              <a:defRPr sz="1575"/>
            </a:lvl8pPr>
            <a:lvl9pPr marL="5759988" indent="0">
              <a:buNone/>
              <a:defRPr sz="157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EF574-4BF7-442F-A638-31BEEE305A02}" type="datetimeFigureOut">
              <a:rPr lang="en-US" smtClean="0"/>
              <a:t>5/30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F8D2A-260E-42DE-A758-ADBA8D62218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67234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1890" y="960014"/>
            <a:ext cx="4644444" cy="3360050"/>
          </a:xfrm>
        </p:spPr>
        <p:txBody>
          <a:bodyPr anchor="b"/>
          <a:lstStyle>
            <a:lvl1pPr>
              <a:defRPr sz="503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121966" y="2073367"/>
            <a:ext cx="7290108" cy="10233485"/>
          </a:xfrm>
        </p:spPr>
        <p:txBody>
          <a:bodyPr anchor="t"/>
          <a:lstStyle>
            <a:lvl1pPr marL="0" indent="0">
              <a:buNone/>
              <a:defRPr sz="5039"/>
            </a:lvl1pPr>
            <a:lvl2pPr marL="719999" indent="0">
              <a:buNone/>
              <a:defRPr sz="4409"/>
            </a:lvl2pPr>
            <a:lvl3pPr marL="1439997" indent="0">
              <a:buNone/>
              <a:defRPr sz="3780"/>
            </a:lvl3pPr>
            <a:lvl4pPr marL="2159996" indent="0">
              <a:buNone/>
              <a:defRPr sz="3150"/>
            </a:lvl4pPr>
            <a:lvl5pPr marL="2879994" indent="0">
              <a:buNone/>
              <a:defRPr sz="3150"/>
            </a:lvl5pPr>
            <a:lvl6pPr marL="3599993" indent="0">
              <a:buNone/>
              <a:defRPr sz="3150"/>
            </a:lvl6pPr>
            <a:lvl7pPr marL="4319991" indent="0">
              <a:buNone/>
              <a:defRPr sz="3150"/>
            </a:lvl7pPr>
            <a:lvl8pPr marL="5039990" indent="0">
              <a:buNone/>
              <a:defRPr sz="3150"/>
            </a:lvl8pPr>
            <a:lvl9pPr marL="5759988" indent="0">
              <a:buNone/>
              <a:defRPr sz="315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91890" y="4320064"/>
            <a:ext cx="4644444" cy="8003453"/>
          </a:xfrm>
        </p:spPr>
        <p:txBody>
          <a:bodyPr/>
          <a:lstStyle>
            <a:lvl1pPr marL="0" indent="0">
              <a:buNone/>
              <a:defRPr sz="2520"/>
            </a:lvl1pPr>
            <a:lvl2pPr marL="719999" indent="0">
              <a:buNone/>
              <a:defRPr sz="2205"/>
            </a:lvl2pPr>
            <a:lvl3pPr marL="1439997" indent="0">
              <a:buNone/>
              <a:defRPr sz="1890"/>
            </a:lvl3pPr>
            <a:lvl4pPr marL="2159996" indent="0">
              <a:buNone/>
              <a:defRPr sz="1575"/>
            </a:lvl4pPr>
            <a:lvl5pPr marL="2879994" indent="0">
              <a:buNone/>
              <a:defRPr sz="1575"/>
            </a:lvl5pPr>
            <a:lvl6pPr marL="3599993" indent="0">
              <a:buNone/>
              <a:defRPr sz="1575"/>
            </a:lvl6pPr>
            <a:lvl7pPr marL="4319991" indent="0">
              <a:buNone/>
              <a:defRPr sz="1575"/>
            </a:lvl7pPr>
            <a:lvl8pPr marL="5039990" indent="0">
              <a:buNone/>
              <a:defRPr sz="1575"/>
            </a:lvl8pPr>
            <a:lvl9pPr marL="5759988" indent="0">
              <a:buNone/>
              <a:defRPr sz="157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EF574-4BF7-442F-A638-31BEEE305A02}" type="datetimeFigureOut">
              <a:rPr lang="en-US" smtClean="0"/>
              <a:t>5/30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F8D2A-260E-42DE-A758-ADBA8D62218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6082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90015" y="766681"/>
            <a:ext cx="12420184" cy="278337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90015" y="3833390"/>
            <a:ext cx="12420184" cy="91368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90015" y="13346867"/>
            <a:ext cx="3240048" cy="7666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2EF574-4BF7-442F-A638-31BEEE305A02}" type="datetimeFigureOut">
              <a:rPr lang="en-US" smtClean="0"/>
              <a:t>5/3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770071" y="13346867"/>
            <a:ext cx="4860072" cy="7666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170150" y="13346867"/>
            <a:ext cx="3240048" cy="7666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3F8D2A-260E-42DE-A758-ADBA8D622188}" type="slidenum">
              <a:rPr lang="en-US" smtClean="0"/>
              <a:t>‹Nr.›</a:t>
            </a:fld>
            <a:endParaRPr lang="en-US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EC7947C-C9D2-FAC7-CD8A-31A819C7C9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725585221"/>
              </p:ext>
            </p:extLst>
          </p:nvPr>
        </p:nvGraphicFramePr>
        <p:xfrm>
          <a:off x="1875" y="3335"/>
          <a:ext cx="1876" cy="33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Folie" r:id="rId15" imgW="351" imgH="351" progId="TCLayout.ActiveDocument.1">
                  <p:embed/>
                </p:oleObj>
              </mc:Choice>
              <mc:Fallback>
                <p:oleObj name="think-cell Folie" r:id="rId15" imgW="351" imgH="351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B428252-B505-B9D7-FD7E-BC0BF353B2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875" y="3335"/>
                        <a:ext cx="1876" cy="33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31290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1439997" rtl="0" eaLnBrk="1" latinLnBrk="0" hangingPunct="1">
        <a:lnSpc>
          <a:spcPct val="90000"/>
        </a:lnSpc>
        <a:spcBef>
          <a:spcPct val="0"/>
        </a:spcBef>
        <a:buNone/>
        <a:defRPr sz="692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9999" indent="-359999" algn="l" defTabSz="1439997" rtl="0" eaLnBrk="1" latinLnBrk="0" hangingPunct="1">
        <a:lnSpc>
          <a:spcPct val="90000"/>
        </a:lnSpc>
        <a:spcBef>
          <a:spcPts val="1575"/>
        </a:spcBef>
        <a:buFont typeface="Arial" panose="020B0604020202020204" pitchFamily="34" charset="0"/>
        <a:buChar char="•"/>
        <a:defRPr sz="4409" kern="1200">
          <a:solidFill>
            <a:schemeClr val="tx1"/>
          </a:solidFill>
          <a:latin typeface="+mn-lt"/>
          <a:ea typeface="+mn-ea"/>
          <a:cs typeface="+mn-cs"/>
        </a:defRPr>
      </a:lvl1pPr>
      <a:lvl2pPr marL="1079998" indent="-359999" algn="l" defTabSz="1439997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3780" kern="1200">
          <a:solidFill>
            <a:schemeClr val="tx1"/>
          </a:solidFill>
          <a:latin typeface="+mn-lt"/>
          <a:ea typeface="+mn-ea"/>
          <a:cs typeface="+mn-cs"/>
        </a:defRPr>
      </a:lvl2pPr>
      <a:lvl3pPr marL="1799996" indent="-359999" algn="l" defTabSz="1439997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3150" kern="1200">
          <a:solidFill>
            <a:schemeClr val="tx1"/>
          </a:solidFill>
          <a:latin typeface="+mn-lt"/>
          <a:ea typeface="+mn-ea"/>
          <a:cs typeface="+mn-cs"/>
        </a:defRPr>
      </a:lvl3pPr>
      <a:lvl4pPr marL="2519995" indent="-359999" algn="l" defTabSz="1439997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2835" kern="1200">
          <a:solidFill>
            <a:schemeClr val="tx1"/>
          </a:solidFill>
          <a:latin typeface="+mn-lt"/>
          <a:ea typeface="+mn-ea"/>
          <a:cs typeface="+mn-cs"/>
        </a:defRPr>
      </a:lvl4pPr>
      <a:lvl5pPr marL="3239994" indent="-359999" algn="l" defTabSz="1439997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2835" kern="1200">
          <a:solidFill>
            <a:schemeClr val="tx1"/>
          </a:solidFill>
          <a:latin typeface="+mn-lt"/>
          <a:ea typeface="+mn-ea"/>
          <a:cs typeface="+mn-cs"/>
        </a:defRPr>
      </a:lvl5pPr>
      <a:lvl6pPr marL="3959992" indent="-359999" algn="l" defTabSz="1439997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2835" kern="1200">
          <a:solidFill>
            <a:schemeClr val="tx1"/>
          </a:solidFill>
          <a:latin typeface="+mn-lt"/>
          <a:ea typeface="+mn-ea"/>
          <a:cs typeface="+mn-cs"/>
        </a:defRPr>
      </a:lvl6pPr>
      <a:lvl7pPr marL="4679991" indent="-359999" algn="l" defTabSz="1439997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2835" kern="1200">
          <a:solidFill>
            <a:schemeClr val="tx1"/>
          </a:solidFill>
          <a:latin typeface="+mn-lt"/>
          <a:ea typeface="+mn-ea"/>
          <a:cs typeface="+mn-cs"/>
        </a:defRPr>
      </a:lvl7pPr>
      <a:lvl8pPr marL="5399989" indent="-359999" algn="l" defTabSz="1439997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2835" kern="1200">
          <a:solidFill>
            <a:schemeClr val="tx1"/>
          </a:solidFill>
          <a:latin typeface="+mn-lt"/>
          <a:ea typeface="+mn-ea"/>
          <a:cs typeface="+mn-cs"/>
        </a:defRPr>
      </a:lvl8pPr>
      <a:lvl9pPr marL="6119988" indent="-359999" algn="l" defTabSz="1439997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283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39997" rtl="0" eaLnBrk="1" latinLnBrk="0" hangingPunct="1">
        <a:defRPr sz="2835" kern="1200">
          <a:solidFill>
            <a:schemeClr val="tx1"/>
          </a:solidFill>
          <a:latin typeface="+mn-lt"/>
          <a:ea typeface="+mn-ea"/>
          <a:cs typeface="+mn-cs"/>
        </a:defRPr>
      </a:lvl1pPr>
      <a:lvl2pPr marL="719999" algn="l" defTabSz="1439997" rtl="0" eaLnBrk="1" latinLnBrk="0" hangingPunct="1">
        <a:defRPr sz="2835" kern="1200">
          <a:solidFill>
            <a:schemeClr val="tx1"/>
          </a:solidFill>
          <a:latin typeface="+mn-lt"/>
          <a:ea typeface="+mn-ea"/>
          <a:cs typeface="+mn-cs"/>
        </a:defRPr>
      </a:lvl2pPr>
      <a:lvl3pPr marL="1439997" algn="l" defTabSz="1439997" rtl="0" eaLnBrk="1" latinLnBrk="0" hangingPunct="1">
        <a:defRPr sz="2835" kern="1200">
          <a:solidFill>
            <a:schemeClr val="tx1"/>
          </a:solidFill>
          <a:latin typeface="+mn-lt"/>
          <a:ea typeface="+mn-ea"/>
          <a:cs typeface="+mn-cs"/>
        </a:defRPr>
      </a:lvl3pPr>
      <a:lvl4pPr marL="2159996" algn="l" defTabSz="1439997" rtl="0" eaLnBrk="1" latinLnBrk="0" hangingPunct="1">
        <a:defRPr sz="2835" kern="1200">
          <a:solidFill>
            <a:schemeClr val="tx1"/>
          </a:solidFill>
          <a:latin typeface="+mn-lt"/>
          <a:ea typeface="+mn-ea"/>
          <a:cs typeface="+mn-cs"/>
        </a:defRPr>
      </a:lvl4pPr>
      <a:lvl5pPr marL="2879994" algn="l" defTabSz="1439997" rtl="0" eaLnBrk="1" latinLnBrk="0" hangingPunct="1">
        <a:defRPr sz="2835" kern="1200">
          <a:solidFill>
            <a:schemeClr val="tx1"/>
          </a:solidFill>
          <a:latin typeface="+mn-lt"/>
          <a:ea typeface="+mn-ea"/>
          <a:cs typeface="+mn-cs"/>
        </a:defRPr>
      </a:lvl5pPr>
      <a:lvl6pPr marL="3599993" algn="l" defTabSz="1439997" rtl="0" eaLnBrk="1" latinLnBrk="0" hangingPunct="1">
        <a:defRPr sz="2835" kern="1200">
          <a:solidFill>
            <a:schemeClr val="tx1"/>
          </a:solidFill>
          <a:latin typeface="+mn-lt"/>
          <a:ea typeface="+mn-ea"/>
          <a:cs typeface="+mn-cs"/>
        </a:defRPr>
      </a:lvl6pPr>
      <a:lvl7pPr marL="4319991" algn="l" defTabSz="1439997" rtl="0" eaLnBrk="1" latinLnBrk="0" hangingPunct="1">
        <a:defRPr sz="2835" kern="1200">
          <a:solidFill>
            <a:schemeClr val="tx1"/>
          </a:solidFill>
          <a:latin typeface="+mn-lt"/>
          <a:ea typeface="+mn-ea"/>
          <a:cs typeface="+mn-cs"/>
        </a:defRPr>
      </a:lvl7pPr>
      <a:lvl8pPr marL="5039990" algn="l" defTabSz="1439997" rtl="0" eaLnBrk="1" latinLnBrk="0" hangingPunct="1">
        <a:defRPr sz="2835" kern="1200">
          <a:solidFill>
            <a:schemeClr val="tx1"/>
          </a:solidFill>
          <a:latin typeface="+mn-lt"/>
          <a:ea typeface="+mn-ea"/>
          <a:cs typeface="+mn-cs"/>
        </a:defRPr>
      </a:lvl8pPr>
      <a:lvl9pPr marL="5759988" algn="l" defTabSz="1439997" rtl="0" eaLnBrk="1" latinLnBrk="0" hangingPunct="1">
        <a:defRPr sz="283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2761E31-CB35-8254-08A4-23C2E168B1A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5627304"/>
              </p:ext>
            </p:extLst>
          </p:nvPr>
        </p:nvGraphicFramePr>
        <p:xfrm>
          <a:off x="1105694" y="3772694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05694" y="3772694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391678EE-9E2F-E4DD-EBB3-09251D7C07E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1" y="1026163"/>
            <a:ext cx="14400213" cy="12347885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A7A948E9-3FBC-E440-2193-04F96EAE2B8D}"/>
              </a:ext>
            </a:extLst>
          </p:cNvPr>
          <p:cNvSpPr/>
          <p:nvPr/>
        </p:nvSpPr>
        <p:spPr>
          <a:xfrm>
            <a:off x="1270000" y="5232400"/>
            <a:ext cx="2019300" cy="3860800"/>
          </a:xfrm>
          <a:prstGeom prst="rect">
            <a:avLst/>
          </a:prstGeom>
          <a:noFill/>
          <a:ln>
            <a:solidFill>
              <a:srgbClr val="FFABA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ECC22B0A-BA4E-5F92-9BBF-33114897048C}"/>
                  </a:ext>
                </a:extLst>
              </p:cNvPr>
              <p:cNvSpPr txBox="1"/>
              <p:nvPr/>
            </p:nvSpPr>
            <p:spPr>
              <a:xfrm>
                <a:off x="1577052" y="9079468"/>
                <a:ext cx="1474378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sz="1800" i="0" dirty="0" smtClean="0">
                          <a:effectLst/>
                          <a:latin typeface="Cambria Math" panose="02040503050406030204" pitchFamily="18" charset="0"/>
                          <a:ea typeface="MS Mincho" panose="02020609040205080304" pitchFamily="49" charset="-128"/>
                          <a:cs typeface="Times New Roman" panose="02020603050405020304" pitchFamily="18" charset="0"/>
                        </a:rPr>
                        <m:t>Θ</m:t>
                      </m:r>
                      <m:r>
                        <a:rPr lang="en-US" i="1" dirty="0" smtClean="0">
                          <a:latin typeface="Cambria Math" panose="02040503050406030204" pitchFamily="18" charset="0"/>
                        </a:rPr>
                        <m:t>=1</m:t>
                      </m:r>
                      <m:r>
                        <a:rPr lang="de-DE" b="0" i="1" dirty="0" smtClean="0">
                          <a:latin typeface="Cambria Math" panose="02040503050406030204" pitchFamily="18" charset="0"/>
                        </a:rPr>
                        <m:t>, </m:t>
                      </m:r>
                      <m:r>
                        <a:rPr lang="de-DE" b="0" i="1" dirty="0" smtClean="0">
                          <a:latin typeface="Cambria Math" panose="02040503050406030204" pitchFamily="18" charset="0"/>
                        </a:rPr>
                        <m:t>𝑑</m:t>
                      </m:r>
                      <m:r>
                        <a:rPr lang="de-DE" b="0" i="1" dirty="0" smtClean="0">
                          <a:latin typeface="Cambria Math" panose="02040503050406030204" pitchFamily="18" charset="0"/>
                        </a:rPr>
                        <m:t>=0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ECC22B0A-BA4E-5F92-9BBF-33114897048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77052" y="9079468"/>
                <a:ext cx="1474378" cy="36933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Gleichschenkliges Dreieck 8">
            <a:extLst>
              <a:ext uri="{FF2B5EF4-FFF2-40B4-BE49-F238E27FC236}">
                <a16:creationId xmlns:a16="http://schemas.microsoft.com/office/drawing/2014/main" id="{1E264E04-1538-0803-BCE0-DB2B9D4A63B6}"/>
              </a:ext>
            </a:extLst>
          </p:cNvPr>
          <p:cNvSpPr/>
          <p:nvPr/>
        </p:nvSpPr>
        <p:spPr>
          <a:xfrm>
            <a:off x="990600" y="5232400"/>
            <a:ext cx="241300" cy="3860800"/>
          </a:xfrm>
          <a:prstGeom prst="triangle">
            <a:avLst/>
          </a:prstGeom>
          <a:solidFill>
            <a:srgbClr val="FF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44343D0B-4DC4-6743-1685-ABE936483EC8}"/>
                  </a:ext>
                </a:extLst>
              </p:cNvPr>
              <p:cNvSpPr txBox="1"/>
              <p:nvPr/>
            </p:nvSpPr>
            <p:spPr>
              <a:xfrm>
                <a:off x="990600" y="8723868"/>
                <a:ext cx="333040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/>
                        <m:t>𝐼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44343D0B-4DC4-6743-1685-ABE936483EC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90600" y="8723868"/>
                <a:ext cx="333040" cy="369332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Gleichschenkliges Dreieck 10">
            <a:extLst>
              <a:ext uri="{FF2B5EF4-FFF2-40B4-BE49-F238E27FC236}">
                <a16:creationId xmlns:a16="http://schemas.microsoft.com/office/drawing/2014/main" id="{73F49BA2-2D13-381C-90BF-ACB4AD9AF6B8}"/>
              </a:ext>
            </a:extLst>
          </p:cNvPr>
          <p:cNvSpPr/>
          <p:nvPr/>
        </p:nvSpPr>
        <p:spPr>
          <a:xfrm rot="16200000">
            <a:off x="2159000" y="4051300"/>
            <a:ext cx="241300" cy="2019300"/>
          </a:xfrm>
          <a:prstGeom prst="triangle">
            <a:avLst/>
          </a:prstGeom>
          <a:solidFill>
            <a:srgbClr val="FF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6" name="Textfeld 15">
                <a:extLst>
                  <a:ext uri="{FF2B5EF4-FFF2-40B4-BE49-F238E27FC236}">
                    <a16:creationId xmlns:a16="http://schemas.microsoft.com/office/drawing/2014/main" id="{38DC1FA8-1E70-FDA4-CA09-686E3127DD96}"/>
                  </a:ext>
                </a:extLst>
              </p:cNvPr>
              <p:cNvSpPr txBox="1"/>
              <p:nvPr/>
            </p:nvSpPr>
            <p:spPr>
              <a:xfrm>
                <a:off x="3005408" y="4876284"/>
                <a:ext cx="355600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h</m:t>
                      </m:r>
                    </m:oMath>
                  </m:oMathPara>
                </a14:m>
                <a:endParaRPr lang="en-US" dirty="0">
                  <a:solidFill>
                    <a:schemeClr val="tx1"/>
                  </a:solidFill>
                </a:endParaRPr>
              </a:p>
            </p:txBody>
          </p:sp>
        </mc:Choice>
        <mc:Fallback>
          <p:sp>
            <p:nvSpPr>
              <p:cNvPr id="16" name="Textfeld 15">
                <a:extLst>
                  <a:ext uri="{FF2B5EF4-FFF2-40B4-BE49-F238E27FC236}">
                    <a16:creationId xmlns:a16="http://schemas.microsoft.com/office/drawing/2014/main" id="{38DC1FA8-1E70-FDA4-CA09-686E3127DD9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05408" y="4876284"/>
                <a:ext cx="355600" cy="369332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5163226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9</Words>
  <Application>Microsoft Office PowerPoint</Application>
  <PresentationFormat>Benutzerdefiniert</PresentationFormat>
  <Paragraphs>3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Light</vt:lpstr>
      <vt:lpstr>Cambria Math</vt:lpstr>
      <vt:lpstr>Office</vt:lpstr>
      <vt:lpstr>think-cell Folie</vt:lpstr>
      <vt:lpstr>PowerPoint-Präsentation</vt:lpstr>
    </vt:vector>
  </TitlesOfParts>
  <Company>WWU Muenst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Kevin Wesendrup</dc:creator>
  <cp:lastModifiedBy>Kevin Wesendrup</cp:lastModifiedBy>
  <cp:revision>1</cp:revision>
  <dcterms:created xsi:type="dcterms:W3CDTF">2022-05-30T12:21:08Z</dcterms:created>
  <dcterms:modified xsi:type="dcterms:W3CDTF">2022-05-30T13:15:28Z</dcterms:modified>
</cp:coreProperties>
</file>